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F6F6F6"/>
    <a:srgbClr val="C60018"/>
    <a:srgbClr val="8D8D8D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8:16.778" v="29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8:16.778" v="29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A4CFA2F4-FF8D-446B-B271-6DF568DBEADA}" dt="2026-01-23T14:40:42.902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4:44:58.186" v="26" actId="14100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SZDC (CZ)</c:v>
                </c:pt>
                <c:pt idx="1">
                  <c:v>Network Rail (GB)</c:v>
                </c:pt>
                <c:pt idx="2">
                  <c:v>OSE (GR)</c:v>
                </c:pt>
                <c:pt idx="3">
                  <c:v>SNCF Réseau (FR)</c:v>
                </c:pt>
                <c:pt idx="4">
                  <c:v>FTA (FI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34.987699219167801</c:v>
                </c:pt>
                <c:pt idx="1">
                  <c:v>39.096103229119898</c:v>
                </c:pt>
                <c:pt idx="2">
                  <c:v>40.594059405940598</c:v>
                </c:pt>
                <c:pt idx="3">
                  <c:v>59.333998595557503</c:v>
                </c:pt>
                <c:pt idx="4">
                  <c:v>61.453930684699898</c:v>
                </c:pt>
                <c:pt idx="5">
                  <c:v>62.348407909671998</c:v>
                </c:pt>
                <c:pt idx="6">
                  <c:v>64.407859798194394</c:v>
                </c:pt>
                <c:pt idx="7">
                  <c:v>66.898754391568204</c:v>
                </c:pt>
                <c:pt idx="8">
                  <c:v>71.222345802094196</c:v>
                </c:pt>
                <c:pt idx="9">
                  <c:v>74.547846103255495</c:v>
                </c:pt>
                <c:pt idx="10">
                  <c:v>75.089677162216006</c:v>
                </c:pt>
                <c:pt idx="11">
                  <c:v>83.305853256389099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18378227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fication of networks in Europe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9626340"/>
              </p:ext>
            </p:extLst>
          </p:nvPr>
        </p:nvGraphicFramePr>
        <p:xfrm>
          <a:off x="502919" y="1544169"/>
          <a:ext cx="10201593" cy="4266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hare of electrified lines as a proportion of an infrastructure manager’s total lines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894710" y="4235770"/>
            <a:ext cx="3370075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rgbClr val="444444"/>
                </a:solidFill>
              </a:rPr>
              <a:t>SNCF Réseau, </a:t>
            </a:r>
            <a:r>
              <a:rPr lang="fr-FR" sz="900" kern="0" dirty="0" err="1">
                <a:solidFill>
                  <a:srgbClr val="444444"/>
                </a:solidFill>
              </a:rPr>
              <a:t>ProRail</a:t>
            </a:r>
            <a:r>
              <a:rPr lang="fr-FR" sz="900" kern="0" dirty="0">
                <a:solidFill>
                  <a:srgbClr val="444444"/>
                </a:solidFill>
              </a:rPr>
              <a:t>, </a:t>
            </a:r>
            <a:r>
              <a:rPr lang="fr-FR" sz="900" kern="0" dirty="0" err="1">
                <a:solidFill>
                  <a:srgbClr val="444444"/>
                </a:solidFill>
              </a:rPr>
              <a:t>Infrabel</a:t>
            </a:r>
            <a:r>
              <a:rPr lang="fr-FR" sz="900" kern="0" dirty="0">
                <a:solidFill>
                  <a:srgbClr val="444444"/>
                </a:solidFill>
              </a:rPr>
              <a:t>, CFL: 2023.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C391D08-E0B3-4339-9CDC-CA415F3EE6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ctrification of networks in Europe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ification of networks in Europe in 2023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